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695" r:id="rId3"/>
    <p:sldMasterId id="2147483706" r:id="rId4"/>
    <p:sldMasterId id="2147483717" r:id="rId5"/>
  </p:sldMasterIdLst>
  <p:notesMasterIdLst>
    <p:notesMasterId r:id="rId39"/>
  </p:notesMasterIdLst>
  <p:handoutMasterIdLst>
    <p:handoutMasterId r:id="rId40"/>
  </p:handoutMasterIdLst>
  <p:sldIdLst>
    <p:sldId id="256" r:id="rId6"/>
    <p:sldId id="357" r:id="rId7"/>
    <p:sldId id="390" r:id="rId8"/>
    <p:sldId id="391" r:id="rId9"/>
    <p:sldId id="392" r:id="rId10"/>
    <p:sldId id="393" r:id="rId11"/>
    <p:sldId id="394" r:id="rId12"/>
    <p:sldId id="395" r:id="rId13"/>
    <p:sldId id="396" r:id="rId14"/>
    <p:sldId id="387" r:id="rId15"/>
    <p:sldId id="386" r:id="rId16"/>
    <p:sldId id="389" r:id="rId17"/>
    <p:sldId id="345" r:id="rId18"/>
    <p:sldId id="347" r:id="rId19"/>
    <p:sldId id="362" r:id="rId20"/>
    <p:sldId id="381" r:id="rId21"/>
    <p:sldId id="312" r:id="rId22"/>
    <p:sldId id="383" r:id="rId23"/>
    <p:sldId id="353" r:id="rId24"/>
    <p:sldId id="384" r:id="rId25"/>
    <p:sldId id="370" r:id="rId26"/>
    <p:sldId id="369" r:id="rId27"/>
    <p:sldId id="375" r:id="rId28"/>
    <p:sldId id="376" r:id="rId29"/>
    <p:sldId id="363" r:id="rId30"/>
    <p:sldId id="378" r:id="rId31"/>
    <p:sldId id="379" r:id="rId32"/>
    <p:sldId id="380" r:id="rId33"/>
    <p:sldId id="350" r:id="rId34"/>
    <p:sldId id="341" r:id="rId35"/>
    <p:sldId id="354" r:id="rId36"/>
    <p:sldId id="356" r:id="rId37"/>
    <p:sldId id="338" r:id="rId3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napToGrid="0" showGuides="1">
      <p:cViewPr varScale="1">
        <p:scale>
          <a:sx n="98" d="100"/>
          <a:sy n="98" d="100"/>
        </p:scale>
        <p:origin x="600" y="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9D668-99ED-49CF-831F-A840C6D76BAE}" type="datetimeFigureOut">
              <a:rPr lang="en-US" smtClean="0"/>
              <a:pPr/>
              <a:t>10/2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292529-66D3-43A7-9086-539AA4A359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7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4A736-C162-4D71-AF44-405F76366576}" type="datetimeFigureOut">
              <a:rPr lang="en-US" smtClean="0"/>
              <a:pPr/>
              <a:t>10/2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97AD8-F30C-4F9C-820E-149D077B2C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25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 descr="https://pbs.twimg.com/profile_images/378800000629767461/5c5bac0da24cad68077969a2b5147845_400x400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2544" y="382587"/>
            <a:ext cx="1961983" cy="196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5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5196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95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16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3443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466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763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5230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07A182C6-DE33-4717-9328-D7A600982F21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6F270763-AED9-45CD-9365-BBCA49DD3BFC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E72573F4-59D0-4B9B-8D74-A125A38C884A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9128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822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825211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96403058"/>
              </p:ext>
            </p:extLst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5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730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014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848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8801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3301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3297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9373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9374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4883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630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518446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222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912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6440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9629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9589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9482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3579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5261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2465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478356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199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4534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1570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2464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6777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1197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5791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449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932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738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46029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070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3139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71698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789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271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184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48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7542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454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7468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7137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065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137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21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20.emf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21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2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3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9" r:id="rId2"/>
    <p:sldLayoutId id="2147483678" r:id="rId3"/>
    <p:sldLayoutId id="2147483663" r:id="rId4"/>
    <p:sldLayoutId id="2147483670" r:id="rId5"/>
    <p:sldLayoutId id="2147483674" r:id="rId6"/>
    <p:sldLayoutId id="2147483672" r:id="rId7"/>
    <p:sldLayoutId id="2147483675" r:id="rId8"/>
    <p:sldLayoutId id="2147483673" r:id="rId9"/>
    <p:sldLayoutId id="2147483671" r:id="rId10"/>
    <p:sldLayoutId id="2147483676" r:id="rId11"/>
    <p:sldLayoutId id="2147483679" r:id="rId12"/>
    <p:sldLayoutId id="2147483680" r:id="rId13"/>
    <p:sldLayoutId id="2147483677" r:id="rId14"/>
    <p:sldLayoutId id="2147483667" r:id="rId15"/>
    <p:sldLayoutId id="2147483668" r:id="rId16"/>
    <p:sldLayoutId id="2147483682" r:id="rId17"/>
    <p:sldLayoutId id="2147483683" r:id="rId18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 userDrawn="1">
          <p15:clr>
            <a:srgbClr val="F26B43"/>
          </p15:clr>
        </p15:guide>
        <p15:guide id="2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598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566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17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547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dureka.co/angular-js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hyperlink" Target="http://www.madewithangular.com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ngularjs.org/api/ng/type/form.FormController" TargetMode="External"/><Relationship Id="rId3" Type="http://schemas.openxmlformats.org/officeDocument/2006/relationships/hyperlink" Target="https://docs.angularjs.org/api/ng/directive/ngApp" TargetMode="External"/><Relationship Id="rId7" Type="http://schemas.openxmlformats.org/officeDocument/2006/relationships/hyperlink" Target="https://docs.angularjs.org/api/ng/directive/form" TargetMode="External"/><Relationship Id="rId2" Type="http://schemas.openxmlformats.org/officeDocument/2006/relationships/hyperlink" Target="https://docs.angularjs.org/api/ng/directive/ngJq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angularjs.org/guide/expression" TargetMode="External"/><Relationship Id="rId5" Type="http://schemas.openxmlformats.org/officeDocument/2006/relationships/hyperlink" Target="https://docs.angularjs.org/api/ng/directive/ngDisabled" TargetMode="External"/><Relationship Id="rId10" Type="http://schemas.openxmlformats.org/officeDocument/2006/relationships/hyperlink" Target="https://docs.angularjs.org/api/ng/directive/ngController" TargetMode="External"/><Relationship Id="rId4" Type="http://schemas.openxmlformats.org/officeDocument/2006/relationships/hyperlink" Target="https://docs.angularjs.org/api/ng/directive/a" TargetMode="External"/><Relationship Id="rId9" Type="http://schemas.openxmlformats.org/officeDocument/2006/relationships/hyperlink" Target="https://docs.angularjs.org/api/ng/directive/ngClass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gif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71417" y="3104893"/>
            <a:ext cx="762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View </a:t>
            </a:r>
            <a:r>
              <a:rPr 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ngularJS course details at </a:t>
            </a: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2"/>
              </a:rPr>
              <a:t>www.edureka.co/angular-js</a:t>
            </a:r>
            <a:endParaRPr lang="en-US" sz="1400" dirty="0" smtClean="0">
              <a:solidFill>
                <a:schemeClr val="accent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81750" y="2473817"/>
            <a:ext cx="7038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latin typeface="Castellar" panose="020A0402060406010301" pitchFamily="18" charset="0"/>
              </a:rPr>
              <a:t>Getting Started With AngularJS</a:t>
            </a:r>
            <a:endParaRPr lang="en-IN" sz="1800" b="1" dirty="0"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93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826851" y="1322451"/>
            <a:ext cx="1541522" cy="331796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79801" y="1940759"/>
            <a:ext cx="940526" cy="444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tic</a:t>
            </a:r>
          </a:p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79801" y="3817820"/>
            <a:ext cx="940526" cy="444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ynamic</a:t>
            </a:r>
          </a:p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 (view)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917365" y="1884153"/>
            <a:ext cx="1271451" cy="557348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 Content Loaded Event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467305" y="1367246"/>
            <a:ext cx="3988718" cy="32308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1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60102" y="1994802"/>
            <a:ext cx="2307772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-app=“application name”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60102" y="2592465"/>
            <a:ext cx="2307772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injector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83387" y="3236133"/>
            <a:ext cx="1332457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compile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831926" y="3284773"/>
            <a:ext cx="1332457" cy="33092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rootscope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4611219" y="3818139"/>
            <a:ext cx="2177142" cy="444821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compile(</a:t>
            </a:r>
            <a:r>
              <a:rPr lang="en-IN" sz="1100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m</a:t>
            </a:r>
            <a:r>
              <a:rPr lang="en-IN" sz="11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$rootscope)</a:t>
            </a:r>
            <a:endParaRPr lang="en-IN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2360" y="1439196"/>
            <a:ext cx="688009" cy="26161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owser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74459" y="1477177"/>
            <a:ext cx="800219" cy="26161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77482" y="842544"/>
            <a:ext cx="540533" cy="26161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ML</a:t>
            </a:r>
            <a:endParaRPr lang="en-IN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7" name="Straight Arrow Connector 26"/>
          <p:cNvCxnSpPr>
            <a:stCxn id="5" idx="3"/>
            <a:endCxn id="7" idx="1"/>
          </p:cNvCxnSpPr>
          <p:nvPr/>
        </p:nvCxnSpPr>
        <p:spPr>
          <a:xfrm flipV="1">
            <a:off x="2220327" y="2162827"/>
            <a:ext cx="69703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7" idx="3"/>
            <a:endCxn id="9" idx="1"/>
          </p:cNvCxnSpPr>
          <p:nvPr/>
        </p:nvCxnSpPr>
        <p:spPr>
          <a:xfrm flipV="1">
            <a:off x="4188816" y="2160265"/>
            <a:ext cx="1171286" cy="2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3" idx="1"/>
            <a:endCxn id="6" idx="3"/>
          </p:cNvCxnSpPr>
          <p:nvPr/>
        </p:nvCxnSpPr>
        <p:spPr>
          <a:xfrm flipH="1" flipV="1">
            <a:off x="2220327" y="4039889"/>
            <a:ext cx="2390892" cy="6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6" idx="2"/>
            <a:endCxn id="5" idx="0"/>
          </p:cNvCxnSpPr>
          <p:nvPr/>
        </p:nvCxnSpPr>
        <p:spPr>
          <a:xfrm>
            <a:off x="1747749" y="1104154"/>
            <a:ext cx="2315" cy="8366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10" idx="2"/>
          </p:cNvCxnSpPr>
          <p:nvPr/>
        </p:nvCxnSpPr>
        <p:spPr>
          <a:xfrm flipH="1">
            <a:off x="5719864" y="2923391"/>
            <a:ext cx="794124" cy="312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10" idx="2"/>
          </p:cNvCxnSpPr>
          <p:nvPr/>
        </p:nvCxnSpPr>
        <p:spPr>
          <a:xfrm>
            <a:off x="6513988" y="2923391"/>
            <a:ext cx="810940" cy="361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9" idx="2"/>
            <a:endCxn id="10" idx="0"/>
          </p:cNvCxnSpPr>
          <p:nvPr/>
        </p:nvCxnSpPr>
        <p:spPr>
          <a:xfrm>
            <a:off x="6513988" y="2325728"/>
            <a:ext cx="0" cy="2667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 Way</a:t>
            </a:r>
            <a:endParaRPr lang="en-US" dirty="0"/>
          </a:p>
        </p:txBody>
      </p:sp>
      <p:cxnSp>
        <p:nvCxnSpPr>
          <p:cNvPr id="25" name="Straight Arrow Connector 24"/>
          <p:cNvCxnSpPr>
            <a:endCxn id="6" idx="0"/>
          </p:cNvCxnSpPr>
          <p:nvPr/>
        </p:nvCxnSpPr>
        <p:spPr>
          <a:xfrm>
            <a:off x="1745433" y="2415236"/>
            <a:ext cx="4631" cy="14025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11" idx="2"/>
          </p:cNvCxnSpPr>
          <p:nvPr/>
        </p:nvCxnSpPr>
        <p:spPr>
          <a:xfrm flipH="1">
            <a:off x="5574678" y="3567059"/>
            <a:ext cx="74938" cy="25076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12" idx="2"/>
            <a:endCxn id="13" idx="3"/>
          </p:cNvCxnSpPr>
          <p:nvPr/>
        </p:nvCxnSpPr>
        <p:spPr>
          <a:xfrm flipH="1">
            <a:off x="6788361" y="3615699"/>
            <a:ext cx="709794" cy="4248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76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77635" y="856034"/>
            <a:ext cx="1512651" cy="377759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 App URI request is mad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82499" y="1495628"/>
            <a:ext cx="1498059" cy="41018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.js is Downloaded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92516" y="2167646"/>
            <a:ext cx="1648839" cy="41018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otstrap callback is registered by AngularJS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2516" y="2839664"/>
            <a:ext cx="1622899" cy="465306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ML page is fully downloaded and callback is executed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641" y="3571259"/>
            <a:ext cx="1786648" cy="416670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traverses the DOM tree to find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g-app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irectiv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7438" y="4250987"/>
            <a:ext cx="2193588" cy="522051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locates the element containing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g-app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irective and defines it as the root of app DOM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63365" y="4286046"/>
            <a:ext cx="1798807" cy="444626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pendency Injection is created by an Injector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104512" y="4192416"/>
            <a:ext cx="2286812" cy="547984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jector creates the root scope object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$</a:t>
            </a:r>
            <a:r>
              <a:rPr lang="en-US" sz="9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otScope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t will become the context for app’s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886854" y="3375498"/>
            <a:ext cx="2683216" cy="568658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 compiles the DOM by starting at the ng-app root, then processes  directives and bindings  as it work its way down the tree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82328" y="2598096"/>
            <a:ext cx="1974718" cy="480503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ce bootstrapped, Angular waits for browser events that might change the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82328" y="1859002"/>
            <a:ext cx="1896895" cy="442402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n an event occurs, Angular checks for a change to the model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57490" y="1128819"/>
            <a:ext cx="2109284" cy="462467"/>
          </a:xfrm>
          <a:prstGeom prst="rect">
            <a:avLst/>
          </a:prstGeom>
          <a:ln w="158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changes to the model are found, Angular updates the affected bindings within the view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Straight Arrow Connector 14"/>
          <p:cNvCxnSpPr>
            <a:stCxn id="2" idx="2"/>
            <a:endCxn id="3" idx="0"/>
          </p:cNvCxnSpPr>
          <p:nvPr/>
        </p:nvCxnSpPr>
        <p:spPr>
          <a:xfrm flipH="1">
            <a:off x="1731529" y="1233793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1729096" y="1888186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1720989" y="2591412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1711261" y="3324824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1701533" y="3989152"/>
            <a:ext cx="2432" cy="261835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0" name="Straight Arrow Connector 19"/>
          <p:cNvCxnSpPr/>
          <p:nvPr/>
        </p:nvCxnSpPr>
        <p:spPr>
          <a:xfrm flipV="1">
            <a:off x="7238190" y="3924700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7228462" y="308406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7208599" y="229693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7186712" y="1587024"/>
            <a:ext cx="0" cy="281706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26" name="Straight Arrow Connector 25"/>
          <p:cNvCxnSpPr>
            <a:stCxn id="7" idx="3"/>
            <a:endCxn id="8" idx="1"/>
          </p:cNvCxnSpPr>
          <p:nvPr/>
        </p:nvCxnSpPr>
        <p:spPr>
          <a:xfrm flipV="1">
            <a:off x="2821026" y="4508359"/>
            <a:ext cx="742339" cy="3654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5365718" y="4476136"/>
            <a:ext cx="742339" cy="3654"/>
          </a:xfrm>
          <a:prstGeom prst="straightConnector1">
            <a:avLst/>
          </a:prstGeom>
          <a:ln w="15875"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3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 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9121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https://upload.wikimedia.org/wikipedia/en/b/b6/Wright_brother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304878" y="808706"/>
            <a:ext cx="2568170" cy="1570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9241" y="858036"/>
            <a:ext cx="2944036" cy="1472018"/>
          </a:xfrm>
          <a:prstGeom prst="rect">
            <a:avLst/>
          </a:prstGeom>
        </p:spPr>
      </p:pic>
      <p:pic>
        <p:nvPicPr>
          <p:cNvPr id="4" name="Picture 2" descr="http://i.ytimg.com/vi/4EVBg1pNdtc/maxresdefaul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1890" y="3075062"/>
            <a:ext cx="2602591" cy="1463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http://i.ytimg.com/vi/tCb9rIPfi1M/hqdefault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45" y="2780693"/>
            <a:ext cx="2344434" cy="1758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http://img1.ndsstatic.com/wallpapers/6733083005a81b1455d3e31ca93fb848_larg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070" y="2107262"/>
            <a:ext cx="2698798" cy="1686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an you guess, Who invented AngularJS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4082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gularJS</a:t>
            </a:r>
            <a:r>
              <a:rPr lang="en-US" dirty="0"/>
              <a:t> </a:t>
            </a:r>
            <a:r>
              <a:rPr lang="en-US" dirty="0" smtClean="0"/>
              <a:t>Inventors</a:t>
            </a:r>
            <a:endParaRPr lang="en-US" dirty="0"/>
          </a:p>
        </p:txBody>
      </p:sp>
      <p:pic>
        <p:nvPicPr>
          <p:cNvPr id="19" name="Picture 2" descr="http://i.ytimg.com/vi/4EVBg1pNdtc/maxresdefaul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544" y="1505867"/>
            <a:ext cx="3475423" cy="195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83671" y="1513444"/>
            <a:ext cx="3836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was originally developed in 2009 by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sko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very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am </a:t>
            </a:r>
            <a:r>
              <a:rPr lang="en-US" sz="12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brons</a:t>
            </a:r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 Brat Tech LLC, firstly named as </a:t>
            </a:r>
            <a:r>
              <a:rPr lang="en-US" sz="1200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tAngular</a:t>
            </a:r>
            <a:endParaRPr lang="en-US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68620" y="2333107"/>
            <a:ext cx="3082152" cy="1117409"/>
            <a:chOff x="2951226" y="2627505"/>
            <a:chExt cx="3318601" cy="119106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00815" y="2627505"/>
              <a:ext cx="3019425" cy="933450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2951226" y="3510793"/>
              <a:ext cx="331860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&lt;html&gt; enhanced for web applications </a:t>
              </a:r>
              <a:endParaRPr lang="en-US" sz="1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82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Big Brands Using AngularJS</a:t>
            </a:r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057" y="852457"/>
            <a:ext cx="1292940" cy="481023"/>
          </a:xfrm>
          <a:prstGeom prst="rect">
            <a:avLst/>
          </a:prstGeom>
        </p:spPr>
      </p:pic>
      <p:pic>
        <p:nvPicPr>
          <p:cNvPr id="12" name="Picture 4" descr="http://search.gigaom.com/wp-content/uploads/sites/3/2012/06/Netfli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871" y="2362194"/>
            <a:ext cx="1164698" cy="31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663744" y="810971"/>
            <a:ext cx="2565839" cy="1329113"/>
            <a:chOff x="663744" y="810971"/>
            <a:chExt cx="3182603" cy="1706509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8959" y="810971"/>
              <a:ext cx="2832174" cy="1434242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663744" y="2240481"/>
              <a:ext cx="31826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ouTube application for Sony's PlayStation </a:t>
              </a:r>
              <a:r>
                <a:rPr lang="en-US" sz="1200" dirty="0" smtClean="0">
                  <a:solidFill>
                    <a:srgbClr val="0070C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9" name="Picture 8" descr="http://3.bp.blogspot.com/-Sff89YZ1Kq0/T-dvh03TsnI/AAAAAAAAADo/ZOnhfHNRUXM/s1600/Freelancer-copy.com_logo_color_on_whit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906" y="2878894"/>
            <a:ext cx="2407855" cy="504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://www.thepowderstash.com/images/Weather.com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932" y="1541076"/>
            <a:ext cx="1451597" cy="106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https://encrypted-tbn2.gstatic.com/images?q=tbn:ANd9GcQs6s7JkPkkjwgPmNQYjrBPdnM4rpBOIMOV456T188kTcYZtcAm4DS95d8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929" y="1063418"/>
            <a:ext cx="880961" cy="880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http://www.webshaper.com.my/0img/freegraphics/paypal/paypal_logo-bi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8114" y="2671622"/>
            <a:ext cx="1829413" cy="495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924369" y="3922448"/>
            <a:ext cx="33463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Go To : </a:t>
            </a:r>
            <a:r>
              <a:rPr lang="en-US" sz="1600" dirty="0">
                <a:hlinkClick r:id="rId9"/>
              </a:rPr>
              <a:t>www.madewithangular.com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5574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ngular js Job Trends grap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38" y="846138"/>
            <a:ext cx="6624637" cy="367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nce The Growth In Job Tren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563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gularJS Features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81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Features of AngularJS</a:t>
            </a:r>
            <a:endParaRPr lang="en-US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051"/>
          <a:stretch/>
        </p:blipFill>
        <p:spPr>
          <a:xfrm>
            <a:off x="2962300" y="824747"/>
            <a:ext cx="3234224" cy="339159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1028" y="4195320"/>
            <a:ext cx="827588" cy="82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10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VC &amp; MVW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9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6897177" y="3215601"/>
            <a:ext cx="1182" cy="4794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MVC &amp; MVW Way of AngularJ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859258" y="1367933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657538" y="1338749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413330" y="3708028"/>
            <a:ext cx="1108019" cy="56933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871548" y="3708028"/>
            <a:ext cx="1079769" cy="5693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nit Test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069564" y="3708028"/>
            <a:ext cx="1005649" cy="5693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troller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259578" y="2802042"/>
            <a:ext cx="1261771" cy="5178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ever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6901" y="1457398"/>
            <a:ext cx="827588" cy="827588"/>
          </a:xfrm>
          <a:prstGeom prst="rect">
            <a:avLst/>
          </a:prstGeom>
        </p:spPr>
      </p:pic>
      <p:cxnSp>
        <p:nvCxnSpPr>
          <p:cNvPr id="16" name="Straight Connector 15"/>
          <p:cNvCxnSpPr>
            <a:stCxn id="11" idx="0"/>
            <a:endCxn id="12" idx="1"/>
          </p:cNvCxnSpPr>
          <p:nvPr/>
        </p:nvCxnSpPr>
        <p:spPr>
          <a:xfrm flipV="1">
            <a:off x="5572389" y="3060975"/>
            <a:ext cx="687189" cy="6470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endCxn id="10" idx="0"/>
          </p:cNvCxnSpPr>
          <p:nvPr/>
        </p:nvCxnSpPr>
        <p:spPr>
          <a:xfrm>
            <a:off x="7521349" y="3079489"/>
            <a:ext cx="890084" cy="628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5179808" y="17138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5332208" y="18662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5484608" y="2018658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7852092" y="1713858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ML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7852092" y="2023323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SS</a:t>
            </a:r>
            <a:endParaRPr lang="en-US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4543841" y="1278337"/>
            <a:ext cx="10510" cy="309143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796348" y="731869"/>
            <a:ext cx="1177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VC</a:t>
            </a:r>
            <a:endParaRPr lang="en-US" sz="2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6438339" y="746538"/>
            <a:ext cx="11771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VW</a:t>
            </a:r>
            <a:endParaRPr lang="en-US" sz="2000" b="1" dirty="0"/>
          </a:p>
        </p:txBody>
      </p:sp>
      <p:sp>
        <p:nvSpPr>
          <p:cNvPr id="28" name="Rectangle 27"/>
          <p:cNvSpPr/>
          <p:nvPr/>
        </p:nvSpPr>
        <p:spPr>
          <a:xfrm>
            <a:off x="138238" y="1355263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Model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2936518" y="1326079"/>
            <a:ext cx="1264595" cy="10019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View</a:t>
            </a:r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1538789" y="3193812"/>
            <a:ext cx="1261771" cy="122239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/>
              <a:t>Controller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5881" y="1444728"/>
            <a:ext cx="827588" cy="827588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458788" y="16914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611188" y="18438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763588" y="1996260"/>
            <a:ext cx="350196" cy="20368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accent1">
                <a:shade val="50000"/>
                <a:alpha val="1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3131072" y="1701188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ML</a:t>
            </a:r>
            <a:endParaRPr lang="en-US" dirty="0"/>
          </a:p>
        </p:txBody>
      </p:sp>
      <p:sp>
        <p:nvSpPr>
          <p:cNvPr id="43" name="Rectangle 42"/>
          <p:cNvSpPr/>
          <p:nvPr/>
        </p:nvSpPr>
        <p:spPr>
          <a:xfrm>
            <a:off x="3131072" y="2010653"/>
            <a:ext cx="882002" cy="20368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SS</a:t>
            </a:r>
            <a:endParaRPr lang="en-US" dirty="0"/>
          </a:p>
        </p:txBody>
      </p:sp>
      <p:sp>
        <p:nvSpPr>
          <p:cNvPr id="46" name="Rectangle 45"/>
          <p:cNvSpPr/>
          <p:nvPr/>
        </p:nvSpPr>
        <p:spPr>
          <a:xfrm>
            <a:off x="1657518" y="3488981"/>
            <a:ext cx="1024314" cy="2372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avaScript</a:t>
            </a:r>
            <a:endParaRPr lang="en-US" dirty="0"/>
          </a:p>
        </p:txBody>
      </p:sp>
      <p:sp>
        <p:nvSpPr>
          <p:cNvPr id="47" name="Rectangle 46"/>
          <p:cNvSpPr/>
          <p:nvPr/>
        </p:nvSpPr>
        <p:spPr>
          <a:xfrm>
            <a:off x="1657518" y="4021400"/>
            <a:ext cx="1024314" cy="2372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Services</a:t>
            </a:r>
            <a:endParaRPr lang="en-US" dirty="0"/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0864" y="4053884"/>
            <a:ext cx="170170" cy="170170"/>
          </a:xfrm>
          <a:prstGeom prst="rect">
            <a:avLst/>
          </a:prstGeom>
        </p:spPr>
      </p:pic>
      <p:pic>
        <p:nvPicPr>
          <p:cNvPr id="11266" name="Picture 2" descr="http://www.smsitgroup.com/wp-content/uploads/2014/09/virtual-serv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551" y="3761900"/>
            <a:ext cx="718980" cy="749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Straight Arrow Connector 51"/>
          <p:cNvCxnSpPr>
            <a:stCxn id="47" idx="3"/>
            <a:endCxn id="11266" idx="1"/>
          </p:cNvCxnSpPr>
          <p:nvPr/>
        </p:nvCxnSpPr>
        <p:spPr>
          <a:xfrm flipV="1">
            <a:off x="2681832" y="4136504"/>
            <a:ext cx="804719" cy="35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422289" y="1856238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34" idx="2"/>
            <a:endCxn id="33" idx="0"/>
          </p:cNvCxnSpPr>
          <p:nvPr/>
        </p:nvCxnSpPr>
        <p:spPr>
          <a:xfrm>
            <a:off x="2169675" y="2272316"/>
            <a:ext cx="0" cy="9214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2537731" y="1852993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6145847" y="1839462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260897" y="1841212"/>
            <a:ext cx="353048" cy="22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13" idx="2"/>
          </p:cNvCxnSpPr>
          <p:nvPr/>
        </p:nvCxnSpPr>
        <p:spPr>
          <a:xfrm>
            <a:off x="6890695" y="2284986"/>
            <a:ext cx="6482" cy="5099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67" name="TextBox 11266"/>
          <p:cNvSpPr txBox="1"/>
          <p:nvPr/>
        </p:nvSpPr>
        <p:spPr>
          <a:xfrm>
            <a:off x="2169674" y="2519342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 way data binding</a:t>
            </a:r>
            <a:endParaRPr lang="en-US" sz="1000" dirty="0"/>
          </a:p>
        </p:txBody>
      </p:sp>
      <p:sp>
        <p:nvSpPr>
          <p:cNvPr id="68" name="TextBox 67"/>
          <p:cNvSpPr txBox="1"/>
          <p:nvPr/>
        </p:nvSpPr>
        <p:spPr>
          <a:xfrm>
            <a:off x="6853767" y="2459176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 way data binding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5469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84244" y="981522"/>
            <a:ext cx="4885464" cy="3960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should we us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s AngularJ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g Brands Using Angular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Featur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MVC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amp; MVW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chitectu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ic AngularJS Program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ives and Filter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is Single Pag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lication?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to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ponsiv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gle Pag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lication?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endParaRPr lang="en-US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ü"/>
            </a:pPr>
            <a:endParaRPr lang="en-US" sz="12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612524" y="137050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5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146959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460" y="234000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765" y="234000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564" y="316838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101"/>
          <p:cNvGrpSpPr>
            <a:grpSpLocks/>
          </p:cNvGrpSpPr>
          <p:nvPr/>
        </p:nvGrpSpPr>
        <p:grpSpPr>
          <a:xfrm>
            <a:off x="6567300" y="222438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0" name="Group 9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2" name="Freeform 11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1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val 13"/>
          <p:cNvSpPr/>
          <p:nvPr/>
        </p:nvSpPr>
        <p:spPr>
          <a:xfrm>
            <a:off x="5541269" y="128979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5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837" y="233778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will you learn toda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1011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gularJS First Program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81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891" y="1338861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6" name="Rectangular Callout 5"/>
          <p:cNvSpPr/>
          <p:nvPr/>
        </p:nvSpPr>
        <p:spPr>
          <a:xfrm>
            <a:off x="5570916" y="935935"/>
            <a:ext cx="1587062" cy="714703"/>
          </a:xfrm>
          <a:prstGeom prst="wedgeRectCallout">
            <a:avLst>
              <a:gd name="adj1" fmla="val -54608"/>
              <a:gd name="adj2" fmla="val 772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r>
              <a:rPr lang="en-IN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lude AngularJS</a:t>
            </a:r>
          </a:p>
        </p:txBody>
      </p:sp>
    </p:spTree>
    <p:extLst>
      <p:ext uri="{BB962C8B-B14F-4D97-AF65-F5344CB8AC3E}">
        <p14:creationId xmlns:p14="http://schemas.microsoft.com/office/powerpoint/2010/main" val="429297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891" y="1338861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2324615" y="1040972"/>
            <a:ext cx="1629103" cy="704557"/>
          </a:xfrm>
          <a:prstGeom prst="wedgeRectCallout">
            <a:avLst>
              <a:gd name="adj1" fmla="val -75437"/>
              <a:gd name="adj2" fmla="val 11420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. Bootstrap </a:t>
            </a:r>
            <a:r>
              <a:rPr lang="en-US" dirty="0"/>
              <a:t>the App</a:t>
            </a:r>
          </a:p>
        </p:txBody>
      </p:sp>
    </p:spTree>
    <p:extLst>
      <p:ext uri="{BB962C8B-B14F-4D97-AF65-F5344CB8AC3E}">
        <p14:creationId xmlns:p14="http://schemas.microsoft.com/office/powerpoint/2010/main" val="377588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000" y="1348589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87815" y="2521616"/>
            <a:ext cx="1381401" cy="508830"/>
          </a:xfrm>
          <a:prstGeom prst="wedgeRectCallout">
            <a:avLst>
              <a:gd name="adj1" fmla="val 78948"/>
              <a:gd name="adj2" fmla="val -2045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. Create </a:t>
            </a:r>
            <a:r>
              <a:rPr lang="en-US" dirty="0"/>
              <a:t>the Controller</a:t>
            </a:r>
          </a:p>
        </p:txBody>
      </p:sp>
    </p:spTree>
    <p:extLst>
      <p:ext uri="{BB962C8B-B14F-4D97-AF65-F5344CB8AC3E}">
        <p14:creationId xmlns:p14="http://schemas.microsoft.com/office/powerpoint/2010/main" val="63563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176" y="1299949"/>
            <a:ext cx="7858125" cy="2914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40469" y="770918"/>
            <a:ext cx="34925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 to create an AngularJS Application</a:t>
            </a:r>
          </a:p>
          <a:p>
            <a:pPr defTabSz="685783"/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783"/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indent="-228600" defTabSz="685783">
              <a:lnSpc>
                <a:spcPct val="150000"/>
              </a:lnSpc>
              <a:buFont typeface="+mj-lt"/>
              <a:buAutoNum type="arabicPeriod"/>
            </a:pPr>
            <a:endParaRPr lang="en-IN" sz="1200" dirty="0" smtClean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ngularJS: Your </a:t>
            </a:r>
            <a:r>
              <a:rPr lang="en-US" dirty="0" smtClean="0"/>
              <a:t>First Program</a:t>
            </a:r>
            <a:endParaRPr lang="en-US" dirty="0"/>
          </a:p>
        </p:txBody>
      </p:sp>
      <p:sp>
        <p:nvSpPr>
          <p:cNvPr id="4" name="Rectangular Callout 3"/>
          <p:cNvSpPr/>
          <p:nvPr/>
        </p:nvSpPr>
        <p:spPr>
          <a:xfrm>
            <a:off x="175099" y="2499029"/>
            <a:ext cx="1450427" cy="588579"/>
          </a:xfrm>
          <a:prstGeom prst="wedgeRectCallout">
            <a:avLst>
              <a:gd name="adj1" fmla="val 73548"/>
              <a:gd name="adj2" fmla="val 12614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. Create </a:t>
            </a:r>
            <a:r>
              <a:rPr lang="en-US" dirty="0"/>
              <a:t>the View</a:t>
            </a:r>
          </a:p>
        </p:txBody>
      </p:sp>
    </p:spTree>
    <p:extLst>
      <p:ext uri="{BB962C8B-B14F-4D97-AF65-F5344CB8AC3E}">
        <p14:creationId xmlns:p14="http://schemas.microsoft.com/office/powerpoint/2010/main" val="352251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262" y="1912794"/>
            <a:ext cx="7858125" cy="2914650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AngularJS Directives</a:t>
            </a:r>
            <a:endParaRPr lang="en-US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868136"/>
            <a:ext cx="8267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he process of rendering of HTML inside the AngularJS application are controlled by Directives 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Directives guide the HTML compiler to control the DOM elements by attaching specific behavior to the elemen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Rectangular Callout 4"/>
          <p:cNvSpPr/>
          <p:nvPr/>
        </p:nvSpPr>
        <p:spPr>
          <a:xfrm>
            <a:off x="2283987" y="1701257"/>
            <a:ext cx="1324303" cy="493986"/>
          </a:xfrm>
          <a:prstGeom prst="wedgeRectCallout">
            <a:avLst>
              <a:gd name="adj1" fmla="val -68224"/>
              <a:gd name="adj2" fmla="val 17132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  <p:sp>
        <p:nvSpPr>
          <p:cNvPr id="6" name="Rectangular Callout 5"/>
          <p:cNvSpPr/>
          <p:nvPr/>
        </p:nvSpPr>
        <p:spPr>
          <a:xfrm>
            <a:off x="368879" y="3200184"/>
            <a:ext cx="1324303" cy="493986"/>
          </a:xfrm>
          <a:prstGeom prst="wedgeRectCallout">
            <a:avLst>
              <a:gd name="adj1" fmla="val 70057"/>
              <a:gd name="adj2" fmla="val 14504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9736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t in </a:t>
            </a:r>
            <a:r>
              <a:rPr lang="en-US" dirty="0" smtClean="0"/>
              <a:t>Directive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691367"/>
              </p:ext>
            </p:extLst>
          </p:nvPr>
        </p:nvGraphicFramePr>
        <p:xfrm>
          <a:off x="646384" y="741637"/>
          <a:ext cx="7855585" cy="37598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04900"/>
                <a:gridCol w="6750685"/>
              </a:tblGrid>
              <a:tr h="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crip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36257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2"/>
                        </a:rPr>
                        <a:t>ngJq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 this directive to force the angular.element library. This should be used to force either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lite 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y leaving ng-</a:t>
                      </a:r>
                      <a:r>
                        <a:rPr lang="en-US" sz="1200" b="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blank or setting the name of the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Query 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ariable under window (</a:t>
                      </a:r>
                      <a:r>
                        <a:rPr lang="en-US" sz="1200" b="0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g</a:t>
                      </a: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jQuery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3"/>
                        </a:rPr>
                        <a:t>ngApp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 this directive to auto-bootstrap an AngularJS application. The ngApp directive designates the root elementof the application and is typically placed near the root element of the page - e.g. on the &lt;body&gt; or &lt;html&gt; 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gs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4"/>
                        </a:rPr>
                        <a:t>a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difies the default behavior of the html A tag so that the default action is prevented when the href attribute is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mpty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5"/>
                        </a:rPr>
                        <a:t>ngDisabled</a:t>
                      </a:r>
                      <a:endParaRPr lang="en-US" sz="1200" b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is directive sets the disabled attribute on the element if</a:t>
                      </a:r>
                      <a:r>
                        <a:rPr lang="en-US" sz="1200" b="0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</a:t>
                      </a:r>
                      <a:r>
                        <a:rPr lang="en-US" sz="1200" b="0" u="sng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6"/>
                        </a:rPr>
                        <a:t>expression</a:t>
                      </a:r>
                      <a:r>
                        <a:rPr lang="en-US" sz="1200" b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inside ngDisabled evaluates to truthy</a:t>
                      </a:r>
                    </a:p>
                  </a:txBody>
                  <a:tcPr marL="27305" marR="27305" marT="27305" marB="27305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6162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7"/>
                        </a:rPr>
                        <a:t>form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rective that instantiates 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8"/>
                        </a:rPr>
                        <a:t>FormControll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9"/>
                        </a:rPr>
                        <a:t>ngClass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</a:t>
                      </a: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gClass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directive allows you to dynamically set CSS classes on an HTML element by databinding an expression that represents all classes to be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dded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6085"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hlinkClick r:id="rId10"/>
                        </a:rPr>
                        <a:t>ngControll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 defTabSz="914378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e ngController directive attaches a controller class to the view. This is a key aspect of how angular supports the principles behind the Model-View-Controller design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ttern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0" marR="76200" marT="76200" marB="7620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370615" y="4699415"/>
            <a:ext cx="7411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783">
              <a:buFont typeface="Symbol" panose="05050102010706020507" pitchFamily="18" charset="2"/>
              <a:buChar char="®"/>
            </a:pP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rest of the directives </a:t>
            </a:r>
            <a:r>
              <a:rPr lang="en-IN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fer https://</a:t>
            </a:r>
            <a:r>
              <a:rPr lang="en-IN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cs.angularjs.org/api/ng/directive</a:t>
            </a:r>
            <a:endParaRPr lang="en-IN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379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JS </a:t>
            </a:r>
            <a:r>
              <a:rPr lang="en-US" dirty="0" smtClean="0"/>
              <a:t>Fil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1489" y="1002762"/>
            <a:ext cx="4556234" cy="3513269"/>
          </a:xfrm>
          <a:noFill/>
        </p:spPr>
        <p:txBody>
          <a:bodyPr wrap="square" rtlCol="0">
            <a:spAutoFit/>
          </a:bodyPr>
          <a:lstStyle/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It formats the value of an expression for display to the </a:t>
            </a:r>
            <a:r>
              <a:rPr lang="en-US" dirty="0" smtClean="0"/>
              <a:t>user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Filters in view templates can be used with the following syntax</a:t>
            </a:r>
          </a:p>
          <a:p>
            <a:pPr marL="342900" lvl="1" algn="l" defTabSz="685800"/>
            <a:r>
              <a:rPr lang="en-US" sz="135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{{ expression | filter </a:t>
            </a:r>
            <a:r>
              <a:rPr lang="en-US" sz="1350" dirty="0" smtClean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}}</a:t>
            </a:r>
          </a:p>
          <a:p>
            <a:pPr marL="342900" lvl="1" algn="l" defTabSz="685800"/>
            <a:endParaRPr lang="en-US" sz="1350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Filters are generally injected when used with controllers, services and </a:t>
            </a:r>
            <a:r>
              <a:rPr lang="en-US" dirty="0" smtClean="0"/>
              <a:t>directives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With filters data can be organized to meet certain criteria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827986" y="1059069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28588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Symbol" panose="05050102010706020507" pitchFamily="18" charset="2"/>
              <a:buChar char="®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 rtl="0" eaLnBrk="1" latinLnBrk="0" hangingPunct="1">
              <a:lnSpc>
                <a:spcPct val="150000"/>
              </a:lnSpc>
              <a:spcBef>
                <a:spcPct val="20000"/>
              </a:spcBef>
              <a:buFontTx/>
              <a:buNone/>
              <a:defRPr sz="12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UpperCase</a:t>
            </a:r>
          </a:p>
          <a:p>
            <a:endParaRPr lang="en-US" smtClean="0"/>
          </a:p>
          <a:p>
            <a:endParaRPr lang="en-US" smtClean="0"/>
          </a:p>
          <a:p>
            <a:r>
              <a:rPr lang="en-US" smtClean="0"/>
              <a:t>LowerCase</a:t>
            </a:r>
          </a:p>
          <a:p>
            <a:endParaRPr lang="en-US" smtClean="0"/>
          </a:p>
          <a:p>
            <a:pPr marL="0" indent="0">
              <a:buFont typeface="Symbol" panose="05050102010706020507" pitchFamily="18" charset="2"/>
              <a:buNone/>
            </a:pPr>
            <a:endParaRPr lang="en-US" smtClean="0"/>
          </a:p>
          <a:p>
            <a:r>
              <a:rPr lang="en-US" smtClean="0"/>
              <a:t>Currency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5847036" y="1469230"/>
            <a:ext cx="2284954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entity.name() | uppercase}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827986" y="3325664"/>
            <a:ext cx="2618329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</a:t>
            </a:r>
            <a:r>
              <a:rPr lang="en-US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tity.amount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) | currency}}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827986" y="2397447"/>
            <a:ext cx="2284954" cy="36195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{entity.name() | lowercase}}</a:t>
            </a:r>
          </a:p>
        </p:txBody>
      </p:sp>
    </p:spTree>
    <p:extLst>
      <p:ext uri="{BB962C8B-B14F-4D97-AF65-F5344CB8AC3E}">
        <p14:creationId xmlns:p14="http://schemas.microsoft.com/office/powerpoint/2010/main" val="3497847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 T</a:t>
            </a:r>
            <a:r>
              <a:rPr lang="en-US" dirty="0" smtClean="0"/>
              <a:t>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683264"/>
          </a:xfr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285750" indent="-285750" algn="l" defTabSz="685800">
              <a:buFont typeface="Wingdings" panose="05000000000000000000" pitchFamily="2" charset="2"/>
              <a:buChar char="ü"/>
            </a:pPr>
            <a:r>
              <a:rPr lang="en-US" dirty="0"/>
              <a:t>Generally used filter types</a:t>
            </a:r>
          </a:p>
          <a:p>
            <a:pPr marL="285750" indent="-285750" algn="l" defTabSz="685800">
              <a:buFont typeface="Wingdings" panose="05000000000000000000" pitchFamily="2" charset="2"/>
              <a:buChar char="ü"/>
            </a:pP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57200" y="1324276"/>
          <a:ext cx="7465687" cy="3363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5542"/>
                <a:gridCol w="5460145"/>
              </a:tblGrid>
              <a:tr h="20924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       </a:t>
                      </a:r>
                    </a:p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am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</a:t>
                      </a:r>
                    </a:p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g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upp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hange case of string to upp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ow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hange case of string to lowercas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urrenc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tring to currency format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numb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numerical valu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son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Json representation 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t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ormat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te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ilter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Filters</a:t>
                      </a:r>
                      <a:r>
                        <a:rPr lang="en-US" sz="12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array based on criteria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rderBy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Orders array based in criteria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293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imitTo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imits number of  objects</a:t>
                      </a:r>
                      <a:endParaRPr lang="en-US" sz="12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546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Page Application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770856"/>
            <a:ext cx="7886700" cy="1551194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285750" indent="-28575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Single-Page Applications (SPAs) are Web apps that load a </a:t>
            </a:r>
            <a:r>
              <a:rPr lang="en-US" dirty="0">
                <a:solidFill>
                  <a:srgbClr val="0070C0"/>
                </a:solidFill>
              </a:rPr>
              <a:t>single HTML page</a:t>
            </a:r>
            <a:r>
              <a:rPr lang="en-US" dirty="0"/>
              <a:t> </a:t>
            </a:r>
            <a:r>
              <a:rPr lang="en-US" dirty="0">
                <a:solidFill>
                  <a:srgbClr val="0070C0"/>
                </a:solidFill>
              </a:rPr>
              <a:t>and dynamically update </a:t>
            </a:r>
            <a:r>
              <a:rPr lang="en-US" dirty="0"/>
              <a:t>that page as the user interacts with the </a:t>
            </a:r>
            <a:r>
              <a:rPr lang="en-US" dirty="0" smtClean="0"/>
              <a:t>app</a:t>
            </a:r>
          </a:p>
          <a:p>
            <a:endParaRPr lang="en-US" dirty="0"/>
          </a:p>
          <a:p>
            <a:r>
              <a:rPr lang="en-US" dirty="0"/>
              <a:t>In a Single Page Application or SPA the page </a:t>
            </a:r>
            <a:r>
              <a:rPr lang="en-US" dirty="0">
                <a:solidFill>
                  <a:srgbClr val="0070C0"/>
                </a:solidFill>
              </a:rPr>
              <a:t>never reloads</a:t>
            </a:r>
            <a:r>
              <a:rPr lang="en-US" dirty="0"/>
              <a:t>, though parts of the page may refresh. This reduces the round trips to the server to a minimu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192" y="2666593"/>
            <a:ext cx="2476907" cy="247690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40235" y="2451148"/>
            <a:ext cx="1060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lient Side Routing</a:t>
            </a:r>
            <a:endParaRPr lang="en-US" sz="11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420645" y="2451149"/>
            <a:ext cx="1060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Client Side Rendering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11672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 Web Pag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373" y="1265305"/>
            <a:ext cx="3143250" cy="6191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2385" y="1309968"/>
            <a:ext cx="3781425" cy="139065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963038" y="1787945"/>
            <a:ext cx="88492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Web Page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994590" y="4768141"/>
            <a:ext cx="256333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DOM Tree of the HTML document</a:t>
            </a:r>
            <a:endParaRPr lang="en-US" dirty="0">
              <a:solidFill>
                <a:srgbClr val="00B0F0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3009904" y="2184512"/>
            <a:ext cx="2393004" cy="2498512"/>
            <a:chOff x="5223753" y="1478604"/>
            <a:chExt cx="2393004" cy="2498512"/>
          </a:xfrm>
        </p:grpSpPr>
        <p:sp>
          <p:nvSpPr>
            <p:cNvPr id="13" name="Oval 12"/>
            <p:cNvSpPr/>
            <p:nvPr/>
          </p:nvSpPr>
          <p:spPr>
            <a:xfrm>
              <a:off x="6021421" y="1478604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tml</a:t>
              </a:r>
              <a:endParaRPr lang="en-US" dirty="0"/>
            </a:p>
          </p:txBody>
        </p:sp>
        <p:sp>
          <p:nvSpPr>
            <p:cNvPr id="14" name="Oval 13"/>
            <p:cNvSpPr/>
            <p:nvPr/>
          </p:nvSpPr>
          <p:spPr>
            <a:xfrm>
              <a:off x="5223753" y="2280005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ead</a:t>
              </a:r>
              <a:endParaRPr lang="en-US" dirty="0"/>
            </a:p>
          </p:txBody>
        </p:sp>
        <p:sp>
          <p:nvSpPr>
            <p:cNvPr id="15" name="Oval 14"/>
            <p:cNvSpPr/>
            <p:nvPr/>
          </p:nvSpPr>
          <p:spPr>
            <a:xfrm>
              <a:off x="6819089" y="2280005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ody</a:t>
              </a:r>
              <a:endParaRPr lang="en-US" dirty="0"/>
            </a:p>
          </p:txBody>
        </p:sp>
        <p:sp>
          <p:nvSpPr>
            <p:cNvPr id="16" name="Oval 15"/>
            <p:cNvSpPr/>
            <p:nvPr/>
          </p:nvSpPr>
          <p:spPr>
            <a:xfrm>
              <a:off x="6819089" y="3271208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1</a:t>
              </a:r>
              <a:endParaRPr lang="en-US" dirty="0"/>
            </a:p>
          </p:txBody>
        </p:sp>
        <p:sp>
          <p:nvSpPr>
            <p:cNvPr id="17" name="Oval 16"/>
            <p:cNvSpPr/>
            <p:nvPr/>
          </p:nvSpPr>
          <p:spPr>
            <a:xfrm>
              <a:off x="5223753" y="3271208"/>
              <a:ext cx="797668" cy="70590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itle</a:t>
              </a:r>
              <a:endParaRPr lang="en-US" dirty="0"/>
            </a:p>
          </p:txBody>
        </p:sp>
        <p:cxnSp>
          <p:nvCxnSpPr>
            <p:cNvPr id="19" name="Straight Connector 18"/>
            <p:cNvCxnSpPr>
              <a:stCxn id="14" idx="7"/>
              <a:endCxn id="13" idx="3"/>
            </p:cNvCxnSpPr>
            <p:nvPr/>
          </p:nvCxnSpPr>
          <p:spPr>
            <a:xfrm flipV="1">
              <a:off x="5904605" y="2081134"/>
              <a:ext cx="233632" cy="30224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>
              <a:stCxn id="15" idx="1"/>
              <a:endCxn id="13" idx="5"/>
            </p:cNvCxnSpPr>
            <p:nvPr/>
          </p:nvCxnSpPr>
          <p:spPr>
            <a:xfrm flipH="1" flipV="1">
              <a:off x="6702273" y="2081134"/>
              <a:ext cx="233632" cy="30224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>
              <a:stCxn id="17" idx="0"/>
              <a:endCxn id="14" idx="4"/>
            </p:cNvCxnSpPr>
            <p:nvPr/>
          </p:nvCxnSpPr>
          <p:spPr>
            <a:xfrm flipV="1">
              <a:off x="5622587" y="2985913"/>
              <a:ext cx="0" cy="2852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16" idx="0"/>
              <a:endCxn id="15" idx="4"/>
            </p:cNvCxnSpPr>
            <p:nvPr/>
          </p:nvCxnSpPr>
          <p:spPr>
            <a:xfrm flipV="1">
              <a:off x="7217923" y="2985913"/>
              <a:ext cx="0" cy="2852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/>
          <p:cNvSpPr txBox="1"/>
          <p:nvPr/>
        </p:nvSpPr>
        <p:spPr>
          <a:xfrm>
            <a:off x="6504561" y="2543184"/>
            <a:ext cx="11859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HTML Markup</a:t>
            </a:r>
            <a:endParaRPr 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4369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To Build Responsive SPA Using AngularJS ?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49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50" smtClean="0"/>
              <a:t>Building Highly Responsive Single Page Application </a:t>
            </a:r>
            <a:endParaRPr lang="en-US" sz="255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57200" y="780670"/>
            <a:ext cx="8297186" cy="445044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585776" indent="-128588" algn="just" defTabSz="914378">
              <a:lnSpc>
                <a:spcPct val="150000"/>
              </a:lnSpc>
              <a:spcBef>
                <a:spcPct val="20000"/>
              </a:spcBef>
              <a:buFont typeface="Tahoma" panose="020B0604030504040204" pitchFamily="34" charset="0"/>
              <a:buChar char="»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378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566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754" indent="0" algn="just" defTabSz="914378">
              <a:lnSpc>
                <a:spcPct val="150000"/>
              </a:lnSpc>
              <a:spcBef>
                <a:spcPct val="20000"/>
              </a:spcBef>
              <a:buFontTx/>
              <a:buNone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537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IN" dirty="0" err="1">
                <a:solidFill>
                  <a:srgbClr val="0070C0"/>
                </a:solidFill>
              </a:rPr>
              <a:t>Usecase</a:t>
            </a:r>
            <a:r>
              <a:rPr lang="en-IN" dirty="0">
                <a:solidFill>
                  <a:srgbClr val="0070C0"/>
                </a:solidFill>
              </a:rPr>
              <a:t> </a:t>
            </a:r>
            <a:r>
              <a:rPr lang="en-IN" dirty="0"/>
              <a:t>: Build a User Management Application</a:t>
            </a:r>
          </a:p>
          <a:p>
            <a:r>
              <a:rPr lang="en-IN" dirty="0">
                <a:solidFill>
                  <a:srgbClr val="0070C0"/>
                </a:solidFill>
              </a:rPr>
              <a:t>Prerequisite</a:t>
            </a:r>
            <a:r>
              <a:rPr lang="en-IN" dirty="0"/>
              <a:t> :</a:t>
            </a:r>
          </a:p>
          <a:p>
            <a:pPr lvl="1"/>
            <a:r>
              <a:rPr lang="en-IN" dirty="0"/>
              <a:t>Text Editor (sublime or </a:t>
            </a:r>
            <a:r>
              <a:rPr lang="en-IN" dirty="0" err="1"/>
              <a:t>notepadd</a:t>
            </a:r>
            <a:r>
              <a:rPr lang="en-IN" dirty="0"/>
              <a:t> ++)</a:t>
            </a:r>
          </a:p>
          <a:p>
            <a:pPr lvl="1"/>
            <a:r>
              <a:rPr lang="en-IN" dirty="0"/>
              <a:t>Latest browser (Firefox or Chrome)</a:t>
            </a:r>
          </a:p>
          <a:p>
            <a:pPr lvl="1"/>
            <a:r>
              <a:rPr lang="en-IN" dirty="0"/>
              <a:t>Installed </a:t>
            </a:r>
            <a:r>
              <a:rPr lang="en-IN" dirty="0" err="1"/>
              <a:t>NodeJS</a:t>
            </a:r>
            <a:r>
              <a:rPr lang="en-IN" dirty="0"/>
              <a:t> (server)</a:t>
            </a:r>
          </a:p>
          <a:p>
            <a:pPr lvl="1"/>
            <a:r>
              <a:rPr lang="en-IN" dirty="0"/>
              <a:t>Mongo (To store </a:t>
            </a:r>
            <a:r>
              <a:rPr lang="en-IN" dirty="0" err="1"/>
              <a:t>userinfo</a:t>
            </a:r>
            <a:r>
              <a:rPr lang="en-IN" dirty="0"/>
              <a:t>)</a:t>
            </a:r>
          </a:p>
          <a:p>
            <a:r>
              <a:rPr lang="en-IN" dirty="0">
                <a:solidFill>
                  <a:srgbClr val="0070C0"/>
                </a:solidFill>
              </a:rPr>
              <a:t>Project Specifications </a:t>
            </a:r>
            <a:r>
              <a:rPr lang="en-IN" dirty="0"/>
              <a:t>:</a:t>
            </a:r>
          </a:p>
          <a:p>
            <a:pPr lvl="1"/>
            <a:r>
              <a:rPr lang="en-IN" dirty="0"/>
              <a:t>Login to the Application</a:t>
            </a:r>
          </a:p>
          <a:p>
            <a:pPr lvl="1"/>
            <a:r>
              <a:rPr lang="en-IN" dirty="0"/>
              <a:t>Create a new user</a:t>
            </a:r>
          </a:p>
          <a:p>
            <a:pPr lvl="1"/>
            <a:r>
              <a:rPr lang="en-IN" dirty="0"/>
              <a:t>View Users List</a:t>
            </a:r>
          </a:p>
          <a:p>
            <a:pPr lvl="1"/>
            <a:r>
              <a:rPr lang="en-IN" dirty="0"/>
              <a:t>Update a existing user</a:t>
            </a:r>
          </a:p>
          <a:p>
            <a:pPr lvl="1"/>
            <a:r>
              <a:rPr lang="en-IN" dirty="0"/>
              <a:t>Delete user</a:t>
            </a:r>
          </a:p>
          <a:p>
            <a:pPr lvl="1"/>
            <a:r>
              <a:rPr lang="en-IN" dirty="0" err="1"/>
              <a:t>Signout</a:t>
            </a:r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3460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>
                <a:latin typeface="Calibri" panose="020F0502020204030204" pitchFamily="34" charset="0"/>
              </a:rPr>
              <a:t>Certifications 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94842" y="886705"/>
            <a:ext cx="6531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Get certified in AngularJS by </a:t>
            </a:r>
            <a:r>
              <a:rPr lang="en-US" sz="1400" b="1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5" name="Round Diagonal Corner Rectangle 4"/>
          <p:cNvSpPr/>
          <p:nvPr/>
        </p:nvSpPr>
        <p:spPr>
          <a:xfrm>
            <a:off x="341593" y="2438920"/>
            <a:ext cx="8539760" cy="2240084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en-US" sz="1200" b="1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Edureka's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en-US" sz="12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AngularJS course: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t covers the fundamental concepts like directives, routes, filters, services and factors which helps to build rich user interface web applications in AngularJS.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t helps you boost your web development skills and become a sought after SPA (single page application) developer. You will learn the highly efficient Angular features like data binding, scope management, form validation, routing, i18n &amp; lot more.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Get </a:t>
            </a: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o work 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on a To-Do List App Project </a:t>
            </a: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owards the end of the course, which gives you complete insights on </a:t>
            </a:r>
            <a:r>
              <a:rPr lang="en-US" sz="1200" smtClean="0">
                <a:solidFill>
                  <a:prstClr val="black"/>
                </a:solidFill>
                <a:latin typeface="Calibri" panose="020F0502020204030204" pitchFamily="34" charset="0"/>
              </a:rPr>
              <a:t>the Node.js framework.</a:t>
            </a:r>
            <a:endParaRPr lang="en-US" sz="1200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Online Live Courses: 21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Assignments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561897" y="1431801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www.edureka.co/angular-js 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45307" y="2088235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24</a:t>
            </a:r>
            <a:r>
              <a:rPr lang="en-US" sz="1400" i="1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th</a:t>
            </a: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 October (Weekend)</a:t>
            </a:r>
          </a:p>
        </p:txBody>
      </p:sp>
      <p:pic>
        <p:nvPicPr>
          <p:cNvPr id="8" name="Picture 7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729411" y="766497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88511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pPr defTabSz="457200"/>
            <a:endParaRPr lang="en-US" sz="32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3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/Queries/Feedback</a:t>
            </a:r>
          </a:p>
          <a:p>
            <a:pPr defTabSz="457200"/>
            <a:endParaRPr lang="en-US" sz="3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endParaRPr lang="en-US" sz="20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rding and presentation will be made available to you within 24 hours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7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the heck is DOM ? 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93630" y="908009"/>
            <a:ext cx="7827346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M is a structured representation of a document and it </a:t>
            </a:r>
            <a:r>
              <a:rPr lang="en-US" sz="12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vides a programming interfac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allows you to change the style and content of th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 pag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298" y="1808229"/>
            <a:ext cx="5867400" cy="275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8991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ep Thought …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602" y="2000207"/>
            <a:ext cx="2903371" cy="2903371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4965567" y="872358"/>
            <a:ext cx="2475757" cy="1683067"/>
          </a:xfrm>
          <a:prstGeom prst="wedgeEllipseCallout">
            <a:avLst>
              <a:gd name="adj1" fmla="val -66258"/>
              <a:gd name="adj2" fmla="val 39394"/>
            </a:avLst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 it means If I can manipulate the DOM, I would be able to change page content, but how would I do that ?</a:t>
            </a:r>
            <a:endParaRPr lang="en-US" sz="13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33286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raditional Way of Manipulating DOM - JavaScript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6697" y="1947556"/>
            <a:ext cx="6502050" cy="257592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10" y="954055"/>
            <a:ext cx="2432417" cy="8895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719" y="969800"/>
            <a:ext cx="3731281" cy="858037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2810523" y="1484867"/>
            <a:ext cx="2470058" cy="4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840727" y="1173880"/>
            <a:ext cx="244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n clicking </a:t>
            </a:r>
            <a:r>
              <a:rPr lang="en-US" sz="1200" dirty="0" smtClean="0">
                <a:solidFill>
                  <a:srgbClr val="00B0F0"/>
                </a:solidFill>
              </a:rPr>
              <a:t>Manipulate DOM </a:t>
            </a:r>
            <a:r>
              <a:rPr lang="en-US" sz="1200" dirty="0" smtClean="0"/>
              <a:t>button </a:t>
            </a:r>
            <a:endParaRPr lang="en-US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2955205" y="4627454"/>
            <a:ext cx="353218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Manipulating DOM (webpage) with JavaScript</a:t>
            </a:r>
            <a:endParaRPr 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90087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ep Thought …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960" y="1527242"/>
            <a:ext cx="2903371" cy="2903371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5110978" y="969188"/>
            <a:ext cx="2172913" cy="1116108"/>
          </a:xfrm>
          <a:prstGeom prst="wedgeEllipseCallout">
            <a:avLst>
              <a:gd name="adj1" fmla="val -67752"/>
              <a:gd name="adj2" fmla="val 31424"/>
            </a:avLst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13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remember jQuery can do DOM manipulation pretty easily !</a:t>
            </a:r>
            <a:endParaRPr lang="en-US" sz="13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7951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aditional Way of Manipulating </a:t>
            </a:r>
            <a:r>
              <a:rPr lang="en-US" dirty="0" smtClean="0"/>
              <a:t>DOM - jQuery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310" y="954055"/>
            <a:ext cx="2432417" cy="8895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2719" y="969800"/>
            <a:ext cx="3731281" cy="858037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2810523" y="1484867"/>
            <a:ext cx="2470058" cy="4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840727" y="1173880"/>
            <a:ext cx="244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n clicking </a:t>
            </a:r>
            <a:r>
              <a:rPr lang="en-US" sz="1200" dirty="0" smtClean="0">
                <a:solidFill>
                  <a:srgbClr val="00B0F0"/>
                </a:solidFill>
              </a:rPr>
              <a:t>Manipulate DOM </a:t>
            </a:r>
            <a:r>
              <a:rPr lang="en-US" sz="1200" dirty="0" smtClean="0"/>
              <a:t>button </a:t>
            </a:r>
            <a:endParaRPr lang="en-US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2556372" y="4497601"/>
            <a:ext cx="318176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Manipulating DOM (webpage) with jQuery</a:t>
            </a:r>
            <a:endParaRPr lang="en-US" dirty="0">
              <a:solidFill>
                <a:srgbClr val="00B0F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8833" y="1891199"/>
            <a:ext cx="6143625" cy="25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52681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Manipulating DOM - AngularJ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08561" y="880592"/>
            <a:ext cx="757784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ditionally, the view modifies the DOM to present data and manipulates the DOM (or invokes jQuery) to add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havior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ularJS puts all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DOM manipulation code into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ives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thus easily </a:t>
            </a:r>
            <a:r>
              <a:rPr lang="en-US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parating that cod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 from the view and making it available as standalone reusabl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t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lps the UI developer to concentrate fully on the user interface and the application developer to </a:t>
            </a:r>
            <a:r>
              <a:rPr lang="en-US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k separately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 DOM manipulations and JQuery calls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474675" y="1391392"/>
            <a:ext cx="27237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reas…</a:t>
            </a:r>
            <a:endParaRPr lang="en-US" sz="2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15350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ain4ce_course_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binar EdurekaTemplate" id="{452A3A16-C0C5-41A8-9027-3FB0E2E247B2}" vid="{95E9C04D-E104-4D45-BFF2-79ABBB5D25AF}"/>
    </a:ext>
  </a:extLst>
</a:theme>
</file>

<file path=ppt/theme/theme2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ebinar EdurekaTemplate</Template>
  <TotalTime>3194</TotalTime>
  <Words>1121</Words>
  <Application>Microsoft Office PowerPoint</Application>
  <PresentationFormat>On-screen Show (16:9)</PresentationFormat>
  <Paragraphs>237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7" baseType="lpstr">
      <vt:lpstr>Arial</vt:lpstr>
      <vt:lpstr>Calibri</vt:lpstr>
      <vt:lpstr>Castellar</vt:lpstr>
      <vt:lpstr>HP Simplified</vt:lpstr>
      <vt:lpstr>Lucida Grande</vt:lpstr>
      <vt:lpstr>Symbol</vt:lpstr>
      <vt:lpstr>Tahoma</vt:lpstr>
      <vt:lpstr>Wingdings</vt:lpstr>
      <vt:lpstr>Brain4ce_course_template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ilt in Directives</vt:lpstr>
      <vt:lpstr>AngularJS Filters</vt:lpstr>
      <vt:lpstr>Filter Type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mala</dc:creator>
  <cp:lastModifiedBy>Awanish</cp:lastModifiedBy>
  <cp:revision>296</cp:revision>
  <dcterms:created xsi:type="dcterms:W3CDTF">2015-04-07T13:08:00Z</dcterms:created>
  <dcterms:modified xsi:type="dcterms:W3CDTF">2015-10-21T10:33:20Z</dcterms:modified>
</cp:coreProperties>
</file>